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10" r:id="rId2"/>
    <p:sldId id="316" r:id="rId3"/>
    <p:sldId id="307" r:id="rId4"/>
    <p:sldId id="314" r:id="rId5"/>
    <p:sldId id="313" r:id="rId6"/>
    <p:sldId id="315" r:id="rId7"/>
    <p:sldId id="308" r:id="rId8"/>
    <p:sldId id="306" r:id="rId9"/>
    <p:sldId id="305" r:id="rId10"/>
    <p:sldId id="309" r:id="rId11"/>
    <p:sldId id="311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6A3E3D-E050-4609-8193-09E9BBB50A86}" v="5" dt="2023-11-22T10:30:23.24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6" autoAdjust="0"/>
    <p:restoredTop sz="94660"/>
  </p:normalViewPr>
  <p:slideViewPr>
    <p:cSldViewPr snapToGrid="0">
      <p:cViewPr varScale="1">
        <p:scale>
          <a:sx n="81" d="100"/>
          <a:sy n="81" d="100"/>
        </p:scale>
        <p:origin x="68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6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33EEA752-7360-4282-8E79-A5E6346BF71D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80000" y="4241618"/>
            <a:ext cx="9431337" cy="1378839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5600" b="1" ker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80001" y="5676583"/>
            <a:ext cx="9435959" cy="574516"/>
          </a:xfrm>
          <a:noFill/>
        </p:spPr>
        <p:txBody>
          <a:bodyPr wrap="square" lIns="0" tIns="0" rIns="0" bIns="0" rtlCol="0" anchor="t" anchorCtr="0">
            <a:sp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867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  <a:endParaRPr lang="en-GB" dirty="0"/>
          </a:p>
        </p:txBody>
      </p: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F43D620C-34F6-402E-A082-6EF61CB8A6F6}"/>
              </a:ext>
            </a:extLst>
          </p:cNvPr>
          <p:cNvSpPr/>
          <p:nvPr userDrawn="1"/>
        </p:nvSpPr>
        <p:spPr>
          <a:xfrm flipH="1" flipV="1">
            <a:off x="6851176" y="-1"/>
            <a:ext cx="5340824" cy="534082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sz="2400" dirty="0" err="1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958351-7C85-455D-8E02-2982B4F40F1B}"/>
              </a:ext>
            </a:extLst>
          </p:cNvPr>
          <p:cNvGrpSpPr/>
          <p:nvPr userDrawn="1"/>
        </p:nvGrpSpPr>
        <p:grpSpPr>
          <a:xfrm>
            <a:off x="12270787" y="6242680"/>
            <a:ext cx="2040000" cy="615320"/>
            <a:chOff x="9203090" y="4682010"/>
            <a:chExt cx="1440002" cy="461490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695BF876-F5E4-433B-87BE-FE23ED292173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FE0968F5-8407-4768-A7BB-97C9EB617B15}"/>
                </a:ext>
              </a:extLst>
            </p:cNvPr>
            <p:cNvCxnSpPr/>
            <p:nvPr/>
          </p:nvCxnSpPr>
          <p:spPr bwMode="gray">
            <a:xfrm flipH="1">
              <a:off x="9203092" y="468201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5445DC2-250D-48F9-A984-44B022560A73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0B853D6-36E3-4A5D-871E-E2C4345B9F60}"/>
              </a:ext>
            </a:extLst>
          </p:cNvPr>
          <p:cNvGrpSpPr/>
          <p:nvPr userDrawn="1"/>
        </p:nvGrpSpPr>
        <p:grpSpPr>
          <a:xfrm>
            <a:off x="11734799" y="6937748"/>
            <a:ext cx="457205" cy="2040000"/>
            <a:chOff x="8801099" y="5203311"/>
            <a:chExt cx="342904" cy="1440000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2F9024F-2FEC-4127-9DE4-9B0C4BC0EDC1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2FA56D73-E4E4-4E65-AC59-1FD9A75519F9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A709E1B-463B-4416-9A9B-8CB47E66AC5C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687A9F34-604C-4A25-A03C-E585E0B017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43947" y="508006"/>
            <a:ext cx="2976000" cy="43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89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69900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332633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195367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219508"/>
            <a:ext cx="8650097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9058100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9900" y="6058344"/>
            <a:ext cx="112512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67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798071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69900" y="1298829"/>
            <a:ext cx="552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6202100" y="1298829"/>
            <a:ext cx="552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469900" y="3746495"/>
            <a:ext cx="552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6202100" y="3746495"/>
            <a:ext cx="5520000" cy="225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219508"/>
            <a:ext cx="8650097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9900" y="6058344"/>
            <a:ext cx="112512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67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1577951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B7D8D07-0BCF-4BB0-A207-66204584BC8F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9900" y="1260883"/>
            <a:ext cx="1125220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333" b="1">
                <a:solidFill>
                  <a:schemeClr val="bg1"/>
                </a:solidFill>
              </a:defRPr>
            </a:lvl1pPr>
            <a:lvl2pPr marL="958827" indent="-958827">
              <a:lnSpc>
                <a:spcPct val="90000"/>
              </a:lnSpc>
              <a:spcBef>
                <a:spcPts val="0"/>
              </a:spcBef>
              <a:buFontTx/>
              <a:buBlip>
                <a:blip r:embed="rId5"/>
              </a:buBlip>
              <a:defRPr sz="5333" b="1">
                <a:solidFill>
                  <a:schemeClr val="bg1"/>
                </a:solidFill>
              </a:defRPr>
            </a:lvl2pPr>
            <a:lvl3pPr marL="1674242" indent="-71541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3pPr>
            <a:lvl4pPr marL="2389658" indent="-713300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4pPr>
            <a:lvl5pPr marL="3105073" indent="-713300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2228850" y="1874017"/>
            <a:ext cx="2042076" cy="24033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24000" bIns="144000" rtlCol="0" anchor="b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AkzoNobel Bullets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Only use the </a:t>
            </a:r>
            <a:r>
              <a:rPr lang="en-US" sz="1200" b="0" u="sng">
                <a:solidFill>
                  <a:schemeClr val="tx1"/>
                </a:solidFill>
              </a:rPr>
              <a:t>List Level buttons</a:t>
            </a:r>
            <a:r>
              <a:rPr lang="en-US" sz="1200" b="0">
                <a:solidFill>
                  <a:schemeClr val="tx1"/>
                </a:solidFill>
              </a:rPr>
              <a:t> to apply the</a:t>
            </a:r>
            <a:r>
              <a:rPr lang="en-US" sz="1200" b="0" baseline="0">
                <a:solidFill>
                  <a:schemeClr val="tx1"/>
                </a:solidFill>
              </a:rPr>
              <a:t> </a:t>
            </a:r>
            <a:r>
              <a:rPr lang="en-US" sz="1200" b="0" i="0" u="none" baseline="0">
                <a:solidFill>
                  <a:schemeClr val="tx1"/>
                </a:solidFill>
              </a:rPr>
              <a:t>AkzoNobel Branded Bullets</a:t>
            </a:r>
            <a:endParaRPr lang="en-US" sz="1200" b="0" i="0" u="none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2097938" y="2041937"/>
            <a:ext cx="1780249" cy="1060035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A9108234-EC49-4872-A1B2-08C93F174D8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692357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DBF9782B-CBFB-4BC8-9AA2-401E0D5D484F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9352624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5" name="Text Placeholder 5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31543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1A60FDAF-2E2A-4DA0-8DD2-47A74AF447BE}"/>
              </a:ext>
            </a:extLst>
          </p:cNvPr>
          <p:cNvGrpSpPr/>
          <p:nvPr userDrawn="1"/>
        </p:nvGrpSpPr>
        <p:grpSpPr>
          <a:xfrm>
            <a:off x="1" y="-1200"/>
            <a:ext cx="12191999" cy="6859200"/>
            <a:chOff x="0" y="-900"/>
            <a:chExt cx="9143999" cy="51444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E43AB6-E6D1-46DC-A70B-48BB5EDF21A9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15AF137-4104-445B-B8FB-3289791F9597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33FBBB-C288-4B0E-B6EE-393E96D68D45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6DAAE6B-5F0D-4447-A4AB-D66BB539F8E1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6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6" name="Text Placeholder 5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3254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469899" y="1298829"/>
            <a:ext cx="8389468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9058100" y="1298831"/>
            <a:ext cx="3133901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F4D4E4-EC74-416E-99DD-BCA3152C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1729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8859367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9058100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587C2C-ABCA-4658-9504-F54DF4DD3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0986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CA6C25D-B479-48F3-AFA4-5D5152C38BDD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111" name="Group 33"/>
          <p:cNvGrpSpPr>
            <a:grpSpLocks noChangeAspect="1"/>
          </p:cNvGrpSpPr>
          <p:nvPr/>
        </p:nvGrpSpPr>
        <p:grpSpPr bwMode="gray">
          <a:xfrm>
            <a:off x="9352624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12" name="Freeform 11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1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2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2" name="Rectangle 21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8" name="Straight Arrow Connector 37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stCxn id="28" idx="0"/>
              <a:endCxn id="28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28" idx="3"/>
              <a:endCxn id="28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45" name="Picture Placeholder 44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07390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64885C40-5374-46B3-A40F-72C613D46B8F}"/>
              </a:ext>
            </a:extLst>
          </p:cNvPr>
          <p:cNvGrpSpPr/>
          <p:nvPr userDrawn="1"/>
        </p:nvGrpSpPr>
        <p:grpSpPr>
          <a:xfrm>
            <a:off x="1" y="-1200"/>
            <a:ext cx="12191999" cy="6859200"/>
            <a:chOff x="0" y="-900"/>
            <a:chExt cx="9143999" cy="514440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4E283DB-FC28-4D25-82E5-31FFC0148776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8D9984F-B3AC-4B24-AD07-6157959DC328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F871881-63A4-460E-8A2D-6EFA97CD4F71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01E1B99-84EA-4EEE-80C0-5496FBC578FA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46" name="Picture Placeholder 45"/>
          <p:cNvSpPr>
            <a:spLocks noGrp="1"/>
          </p:cNvSpPr>
          <p:nvPr>
            <p:ph type="pic" sz="quarter" idx="17"/>
          </p:nvPr>
        </p:nvSpPr>
        <p:spPr bwMode="gray">
          <a:xfrm>
            <a:off x="2" y="-6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 dirty="0"/>
              <a:t>Click icon to add picture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5" name="Objec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2" name="Rectangle 21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39" name="Straight Arrow Connector 38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30" idx="0"/>
              <a:endCxn id="30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0" idx="3"/>
              <a:endCxn id="30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Arrow Connector 41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Oval 42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653514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298552D-DD6A-45C6-9ABB-AF43C8710ECB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9352624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7" name="Picture Placeholder 6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9899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98125" y="3138422"/>
            <a:ext cx="2172380" cy="2172380"/>
          </a:xfrm>
          <a:prstGeom prst="snip2DiagRect">
            <a:avLst>
              <a:gd name="adj1" fmla="val 15590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26350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554577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 baseline="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989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498124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2634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554576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09730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4080AD4-1248-42BF-B117-FF7BD2095101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466851DF-CDE1-45E4-B481-6864BF0B46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5143500"/>
              <a:gd name="connsiteX1" fmla="*/ 5138383 w 9144000"/>
              <a:gd name="connsiteY1" fmla="*/ 0 h 5143500"/>
              <a:gd name="connsiteX2" fmla="*/ 9144000 w 9144000"/>
              <a:gd name="connsiteY2" fmla="*/ 4005615 h 5143500"/>
              <a:gd name="connsiteX3" fmla="*/ 9144000 w 9144000"/>
              <a:gd name="connsiteY3" fmla="*/ 5143500 h 5143500"/>
              <a:gd name="connsiteX4" fmla="*/ 0 w 9144000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5138383" y="0"/>
                </a:lnTo>
                <a:lnTo>
                  <a:pt x="9144000" y="4005615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4D88B44-6923-4A8C-9C25-9A25EAE0D72E}"/>
              </a:ext>
            </a:extLst>
          </p:cNvPr>
          <p:cNvSpPr/>
          <p:nvPr userDrawn="1"/>
        </p:nvSpPr>
        <p:spPr>
          <a:xfrm flipH="1" flipV="1">
            <a:off x="6851176" y="-1"/>
            <a:ext cx="5340824" cy="534082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sz="24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9999" y="4082680"/>
            <a:ext cx="6230400" cy="2160000"/>
          </a:xfrm>
          <a:prstGeom prst="snip2DiagRect">
            <a:avLst>
              <a:gd name="adj1" fmla="val 1587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wrap="square" lIns="108000" tIns="108000" rIns="10800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01599" y="5504454"/>
            <a:ext cx="5908800" cy="738227"/>
          </a:xfrm>
          <a:noFill/>
        </p:spPr>
        <p:txBody>
          <a:bodyPr wrap="square" lIns="0" tIns="0" rIns="0" bIns="162000" rtlCol="0" anchor="b" anchorCtr="0">
            <a:sp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867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0DBAD6-3F35-468A-9602-267769C710D8}"/>
              </a:ext>
            </a:extLst>
          </p:cNvPr>
          <p:cNvGrpSpPr/>
          <p:nvPr userDrawn="1"/>
        </p:nvGrpSpPr>
        <p:grpSpPr>
          <a:xfrm>
            <a:off x="12270787" y="6242680"/>
            <a:ext cx="2040000" cy="615320"/>
            <a:chOff x="9203090" y="4682010"/>
            <a:chExt cx="1440002" cy="46149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E9D52B4-A941-4934-AD9B-7B5BA1C97A50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9413AD9-6BE1-4A5D-8CDB-D4B7292DF23F}"/>
                </a:ext>
              </a:extLst>
            </p:cNvPr>
            <p:cNvCxnSpPr/>
            <p:nvPr/>
          </p:nvCxnSpPr>
          <p:spPr bwMode="gray">
            <a:xfrm flipH="1">
              <a:off x="9203092" y="468201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80614E-0C52-4941-8067-C4E0E6114F03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38DB93-241B-43B2-AAD6-872AB5598331}"/>
              </a:ext>
            </a:extLst>
          </p:cNvPr>
          <p:cNvGrpSpPr/>
          <p:nvPr userDrawn="1"/>
        </p:nvGrpSpPr>
        <p:grpSpPr>
          <a:xfrm>
            <a:off x="11734799" y="6937748"/>
            <a:ext cx="457205" cy="2040000"/>
            <a:chOff x="8801099" y="5203311"/>
            <a:chExt cx="342904" cy="1440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7B79566-831A-4FB4-A7A0-6C823FB4EB30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07DB0C3-4D42-479D-8E40-280BC626EF93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D782735-8D0D-42AE-A823-AF45C1DEEF98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77F479E-C567-4B93-8B6E-A2FC6A313C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43947" y="508006"/>
            <a:ext cx="2976000" cy="43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941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BC2EB70-D3B0-48D3-A2B6-BCB15FB444A7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60844D6-DD6E-471B-A76D-4769B5776D21}"/>
              </a:ext>
            </a:extLst>
          </p:cNvPr>
          <p:cNvSpPr/>
          <p:nvPr userDrawn="1"/>
        </p:nvSpPr>
        <p:spPr>
          <a:xfrm>
            <a:off x="9351751" y="209551"/>
            <a:ext cx="2376000" cy="556728"/>
          </a:xfrm>
          <a:prstGeom prst="rect">
            <a:avLst/>
          </a:prstGeom>
          <a:gradFill flip="none" rotWithShape="1">
            <a:gsLst>
              <a:gs pos="0">
                <a:srgbClr val="005192"/>
              </a:gs>
              <a:gs pos="100000">
                <a:srgbClr val="008BC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9899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 baseline="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98125" y="3138422"/>
            <a:ext cx="2172380" cy="2172380"/>
          </a:xfrm>
          <a:prstGeom prst="snip2DiagRect">
            <a:avLst>
              <a:gd name="adj1" fmla="val 15589"/>
              <a:gd name="adj2" fmla="val 0"/>
            </a:avLst>
          </a:prstGeom>
          <a:solidFill>
            <a:schemeClr val="accent2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26350" y="3138422"/>
            <a:ext cx="2172380" cy="2172380"/>
          </a:xfrm>
          <a:prstGeom prst="snip2DiagRect">
            <a:avLst>
              <a:gd name="adj1" fmla="val 15394"/>
              <a:gd name="adj2" fmla="val 0"/>
            </a:avLst>
          </a:prstGeom>
          <a:solidFill>
            <a:schemeClr val="accent3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554577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4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989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498124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2634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554576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39074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br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983BDD78-F9D1-4F73-87BD-5EEE30374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16"/>
            <a:ext cx="12192000" cy="6860032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80BEE87-4835-4B9C-867B-245D16C29308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2374562-0082-45AC-B175-C00C8C0CF8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7BF0983-5295-3640-8477-ADE0903BF873}"/>
              </a:ext>
            </a:extLst>
          </p:cNvPr>
          <p:cNvGrpSpPr/>
          <p:nvPr userDrawn="1"/>
        </p:nvGrpSpPr>
        <p:grpSpPr>
          <a:xfrm>
            <a:off x="373924" y="3648365"/>
            <a:ext cx="10627405" cy="1248000"/>
            <a:chOff x="280443" y="2736274"/>
            <a:chExt cx="7970554" cy="936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1BD9814-0800-45B7-A273-C7E6F078BA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046479" y="3120140"/>
              <a:ext cx="1204518" cy="425195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E60973-F93F-4148-ACD2-54872AB3A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907184" y="2854901"/>
              <a:ext cx="1145169" cy="698747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208BEBB-6114-4343-901C-738E6B22F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5108919" y="3181378"/>
              <a:ext cx="1688041" cy="21290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9505FDA-B56F-40F5-93F3-77E725948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3327631" y="2881885"/>
              <a:ext cx="1570405" cy="778128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291B86C-C01C-8E4E-8A78-7B40B8A336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80443" y="2736274"/>
              <a:ext cx="1377221" cy="93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17748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AB9725-E30C-447C-B503-B96C6C7DEDC8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27" name="Group 26"/>
          <p:cNvGrpSpPr/>
          <p:nvPr/>
        </p:nvGrpSpPr>
        <p:grpSpPr bwMode="gray">
          <a:xfrm>
            <a:off x="0" y="6243917"/>
            <a:ext cx="12192000" cy="614084"/>
            <a:chOff x="0" y="4682937"/>
            <a:chExt cx="9144000" cy="460563"/>
          </a:xfrm>
        </p:grpSpPr>
        <p:sp>
          <p:nvSpPr>
            <p:cNvPr id="28" name="Rectangle 27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0" name="Pentagon 28"/>
          <p:cNvSpPr/>
          <p:nvPr/>
        </p:nvSpPr>
        <p:spPr bwMode="gray">
          <a:xfrm>
            <a:off x="-1" y="6244917"/>
            <a:ext cx="803212" cy="613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0" bIns="0" rtlCol="0" anchor="ctr" anchorCtr="0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-2188295" y="5656045"/>
            <a:ext cx="2001520" cy="10294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48000" bIns="144000" rtlCol="0" anchor="t" anchorCtr="0">
            <a:sp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Insert Topic Icons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Click on the picture icon and </a:t>
            </a:r>
            <a:r>
              <a:rPr lang="en-US" sz="12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1200" b="0" baseline="0">
                <a:solidFill>
                  <a:schemeClr val="tx1"/>
                </a:solidFill>
              </a:rPr>
              <a:t>the Topic Icons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7F0165-08AF-4404-B9FD-41440F612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5FEB14-E214-46B8-AAF4-66E35457D767}"/>
              </a:ext>
            </a:extLst>
          </p:cNvPr>
          <p:cNvGrpSpPr/>
          <p:nvPr userDrawn="1"/>
        </p:nvGrpSpPr>
        <p:grpSpPr>
          <a:xfrm>
            <a:off x="-2228850" y="338777"/>
            <a:ext cx="2042076" cy="840732"/>
            <a:chOff x="-1671638" y="254082"/>
            <a:chExt cx="1531557" cy="630549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E28855A-4571-482D-967E-D1942BCC416B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EDDB3EC-DF75-4936-A4FF-FEE6D0EF6254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F65836-C317-4D95-898B-D3A98013554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81449AC-B2D2-F8F2-D1A1-C260164FA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9641" y="252028"/>
            <a:ext cx="2412000" cy="48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311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25E1AAA-C40A-4632-8FC4-062951A43D02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15" name="Group 33"/>
          <p:cNvGrpSpPr>
            <a:grpSpLocks noChangeAspect="1"/>
          </p:cNvGrpSpPr>
          <p:nvPr/>
        </p:nvGrpSpPr>
        <p:grpSpPr bwMode="gray">
          <a:xfrm>
            <a:off x="9349887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6" name="Rectangle 15"/>
          <p:cNvSpPr/>
          <p:nvPr/>
        </p:nvSpPr>
        <p:spPr bwMode="gray">
          <a:xfrm>
            <a:off x="12385040" y="243579"/>
            <a:ext cx="2001520" cy="176814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Supported format for the</a:t>
            </a:r>
            <a:r>
              <a:rPr lang="en-US" sz="1200" b="1" baseline="0">
                <a:solidFill>
                  <a:schemeClr val="tx1"/>
                </a:solidFill>
              </a:rPr>
              <a:t> Windows platform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1200" b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MP4</a:t>
            </a:r>
            <a:r>
              <a:rPr lang="en-US" sz="12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1200" b="0" baseline="0">
                <a:solidFill>
                  <a:schemeClr val="tx1"/>
                </a:solidFill>
              </a:rPr>
              <a:t>QT Player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8" name="Media Placeholder 17">
            <a:extLst>
              <a:ext uri="{FF2B5EF4-FFF2-40B4-BE49-F238E27FC236}">
                <a16:creationId xmlns:a16="http://schemas.microsoft.com/office/drawing/2014/main" id="{B7B02E2F-78D5-4E30-B751-15176ACA16DE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" y="-1200"/>
            <a:ext cx="12191999" cy="68592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ovie </a:t>
            </a:r>
          </a:p>
          <a:p>
            <a:r>
              <a:rPr lang="en-US" dirty="0"/>
              <a:t>(in WMV format for Windows platform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0FD17422-CBAC-4C3D-8D82-972F7F972DC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9351433" y="314921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4261952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B7638C14-9F90-4D41-8679-C0126FB6177D}"/>
              </a:ext>
            </a:extLst>
          </p:cNvPr>
          <p:cNvGrpSpPr/>
          <p:nvPr userDrawn="1"/>
        </p:nvGrpSpPr>
        <p:grpSpPr>
          <a:xfrm>
            <a:off x="1" y="-1200"/>
            <a:ext cx="12191999" cy="6859200"/>
            <a:chOff x="0" y="-900"/>
            <a:chExt cx="9143999" cy="51444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BB892A-DD27-4AF9-9505-BDAA1BD47A65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4506E1-8F44-471B-9A1A-DDABA454F049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4C5D3A-5249-4802-82FC-B88E0C727FCB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C80CFD0-7C46-4237-B059-79BE7CA1024E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9625CAEF-7F4C-46C1-8A48-672F893B665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" y="-600"/>
            <a:ext cx="12191999" cy="68592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vie </a:t>
            </a:r>
          </a:p>
          <a:p>
            <a:r>
              <a:rPr lang="en-US" dirty="0"/>
              <a:t>(in WMV format for Windows platform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12385040" y="243579"/>
            <a:ext cx="2001520" cy="176814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Supported format for the</a:t>
            </a:r>
            <a:r>
              <a:rPr lang="en-US" sz="1200" b="1" baseline="0">
                <a:solidFill>
                  <a:schemeClr val="tx1"/>
                </a:solidFill>
              </a:rPr>
              <a:t> Windows platform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1200" b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MP4</a:t>
            </a:r>
            <a:r>
              <a:rPr lang="en-US" sz="12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1200" b="0" baseline="0">
                <a:solidFill>
                  <a:schemeClr val="tx1"/>
                </a:solidFill>
              </a:rPr>
              <a:t>QT Player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2A36365-C340-4B2C-A3E0-87591690B3E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9351433" y="314921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3010959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9B5C15B-E66A-4657-B051-A6E5C2D1B577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12192000" cy="6858000"/>
          </a:xfrm>
          <a:noFill/>
        </p:spPr>
        <p:txBody>
          <a:bodyPr anchor="ctr" anchorCtr="0"/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8" name="Rectangle 37"/>
          <p:cNvSpPr/>
          <p:nvPr/>
        </p:nvSpPr>
        <p:spPr bwMode="gray">
          <a:xfrm>
            <a:off x="12385040" y="243579"/>
            <a:ext cx="2001520" cy="176814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Supported format for the</a:t>
            </a:r>
            <a:r>
              <a:rPr lang="en-US" sz="1200" b="1" baseline="0">
                <a:solidFill>
                  <a:schemeClr val="tx1"/>
                </a:solidFill>
              </a:rPr>
              <a:t> Windows platform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1200" b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MP4</a:t>
            </a:r>
            <a:r>
              <a:rPr lang="en-US" sz="12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1200" b="0" baseline="0">
                <a:solidFill>
                  <a:schemeClr val="tx1"/>
                </a:solidFill>
              </a:rPr>
              <a:t>QT Player</a:t>
            </a:r>
            <a:endParaRPr lang="en-US" sz="12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8106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EFF291B-2CFE-4064-9248-E0E2639B73A3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</p:spTree>
    <p:extLst>
      <p:ext uri="{BB962C8B-B14F-4D97-AF65-F5344CB8AC3E}">
        <p14:creationId xmlns:p14="http://schemas.microsoft.com/office/powerpoint/2010/main" val="27659924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8BC5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797376D-DE6D-4298-AB5F-64406A83EC77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79999" y="2338074"/>
            <a:ext cx="11242101" cy="3675377"/>
          </a:xfrm>
        </p:spPr>
        <p:txBody>
          <a:bodyPr anchor="t" anchorCtr="0"/>
          <a:lstStyle>
            <a:lvl1pPr>
              <a:lnSpc>
                <a:spcPct val="80000"/>
              </a:lnSpc>
              <a:defRPr sz="12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0020EA3-226E-4218-AA72-74DCF5FAD53B}"/>
              </a:ext>
            </a:extLst>
          </p:cNvPr>
          <p:cNvGrpSpPr/>
          <p:nvPr userDrawn="1"/>
        </p:nvGrpSpPr>
        <p:grpSpPr>
          <a:xfrm>
            <a:off x="7555200" y="2221197"/>
            <a:ext cx="4636800" cy="4636803"/>
            <a:chOff x="5666400" y="1665898"/>
            <a:chExt cx="3477600" cy="3477602"/>
          </a:xfrm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7A0C16CC-2633-4079-93F6-648C429A161F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5666399" y="1665899"/>
              <a:ext cx="3477602" cy="3477600"/>
            </a:xfrm>
            <a:prstGeom prst="rtTriangl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C57195F0-8ED9-4A66-8585-BC1AD55DAB6D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6825599" y="2825099"/>
              <a:ext cx="2318401" cy="2318400"/>
            </a:xfrm>
            <a:prstGeom prst="rtTriangle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2F35587B-8EAA-4475-A7BA-44D09903E705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7984799" y="3984299"/>
              <a:ext cx="1159201" cy="11592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982924C7-A34E-4CD0-A6AF-E5FFB5BE04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55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speaker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0733CC7-C8BC-48A6-914D-2279C3CA9242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45" name="Rechthoek 1"/>
          <p:cNvSpPr/>
          <p:nvPr/>
        </p:nvSpPr>
        <p:spPr bwMode="gray">
          <a:xfrm>
            <a:off x="469900" y="2084918"/>
            <a:ext cx="11252200" cy="235926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8635044" y="2084918"/>
            <a:ext cx="3087056" cy="2359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pic>
        <p:nvPicPr>
          <p:cNvPr id="43" name="Picture 42" descr="Portre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328214" y="2743462"/>
            <a:ext cx="1700719" cy="1700719"/>
          </a:xfrm>
          <a:prstGeom prst="rect">
            <a:avLst/>
          </a:prstGeom>
        </p:spPr>
      </p:pic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gray">
          <a:xfrm>
            <a:off x="469900" y="2084918"/>
            <a:ext cx="8165144" cy="2359263"/>
          </a:xfrm>
        </p:spPr>
        <p:txBody>
          <a:bodyPr lIns="298800" tIns="118800" rIns="118800" bIns="93600" anchor="t" anchorCtr="0">
            <a:noAutofit/>
          </a:bodyPr>
          <a:lstStyle>
            <a:lvl1pPr>
              <a:lnSpc>
                <a:spcPct val="90000"/>
              </a:lnSpc>
              <a:defRPr sz="5333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635044" y="2084918"/>
            <a:ext cx="3087056" cy="2359263"/>
          </a:xfrm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nit | Footer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2FA5598-6268-4E02-9320-E25D1831B2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2842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 speakers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2CA1A4F-93FF-4441-BD9E-198187015F29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93921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9900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864485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40464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735049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11028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605612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081591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993921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9900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864485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40464" y="5584525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735049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11028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9605612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9081591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usiness unit | Footer</a:t>
            </a:r>
            <a:endParaRPr lang="en-GB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3ADF2C3-00B0-4FBD-9139-05547B8F79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865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D1D8099E-7306-4550-AE5C-175997108AC2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478369" y="5195148"/>
            <a:ext cx="11243732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69902" y="5195148"/>
            <a:ext cx="2382493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478369" y="4266845"/>
            <a:ext cx="11243732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9902" y="4266845"/>
            <a:ext cx="2382493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478369" y="3338542"/>
            <a:ext cx="11243732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9902" y="3338542"/>
            <a:ext cx="2382493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478369" y="2410240"/>
            <a:ext cx="11243732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9902" y="2410240"/>
            <a:ext cx="2382493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478369" y="1481937"/>
            <a:ext cx="11243732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69902" y="1481937"/>
            <a:ext cx="2382493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1221271" y="161029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1221271" y="2538596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221271" y="3466899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1221271" y="4395202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1221271" y="532350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usiness unit |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7BD3CF-AC2B-4C76-817C-442399EEA19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10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3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2116A9-0496-4E1A-A495-093BAF5935CB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478368" y="1481937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 Placeholder 12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370" y="1481937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07983" y="161029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usiness unit | Footer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86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478368" y="2410240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7" name="Text Placeholder 18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78370" y="2410240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188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707983" y="2538596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1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478368" y="3338542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2" name="Text Placeholder 21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8370" y="3338542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13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707983" y="3466899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33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478368" y="4266845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4" name="Text Placeholder 23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370" y="4266845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35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707983" y="4395202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2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478368" y="5195148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3" name="Text Placeholder 252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370" y="5195148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54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07983" y="532350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48" name="Text Placeholder 40"/>
          <p:cNvSpPr>
            <a:spLocks noGrp="1"/>
          </p:cNvSpPr>
          <p:nvPr>
            <p:ph type="body" sz="quarter" idx="42"/>
          </p:nvPr>
        </p:nvSpPr>
        <p:spPr bwMode="gray">
          <a:xfrm>
            <a:off x="6198158" y="1481937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278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199217" y="1481937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Picture Placeholder 38"/>
          <p:cNvSpPr>
            <a:spLocks noGrp="1"/>
          </p:cNvSpPr>
          <p:nvPr>
            <p:ph type="pic" sz="quarter" idx="44" hasCustomPrompt="1"/>
          </p:nvPr>
        </p:nvSpPr>
        <p:spPr bwMode="gray">
          <a:xfrm>
            <a:off x="6428830" y="161029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1" name="Text Placeholder 73"/>
          <p:cNvSpPr>
            <a:spLocks noGrp="1"/>
          </p:cNvSpPr>
          <p:nvPr>
            <p:ph type="body" sz="quarter" idx="40"/>
          </p:nvPr>
        </p:nvSpPr>
        <p:spPr bwMode="gray">
          <a:xfrm>
            <a:off x="6198158" y="2410240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2" name="Text Placeholder 29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199217" y="2410240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45" hasCustomPrompt="1"/>
          </p:nvPr>
        </p:nvSpPr>
        <p:spPr bwMode="gray">
          <a:xfrm>
            <a:off x="6428830" y="2538596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4" name="Text Placeholder 76"/>
          <p:cNvSpPr>
            <a:spLocks noGrp="1"/>
          </p:cNvSpPr>
          <p:nvPr>
            <p:ph type="body" sz="quarter" idx="38"/>
          </p:nvPr>
        </p:nvSpPr>
        <p:spPr bwMode="gray">
          <a:xfrm>
            <a:off x="6198158" y="3338542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5" name="Text Placeholder 301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199217" y="3338542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6" name="Picture Placeholder 78"/>
          <p:cNvSpPr>
            <a:spLocks noGrp="1"/>
          </p:cNvSpPr>
          <p:nvPr>
            <p:ph type="pic" sz="quarter" idx="46" hasCustomPrompt="1"/>
          </p:nvPr>
        </p:nvSpPr>
        <p:spPr bwMode="gray">
          <a:xfrm>
            <a:off x="6428830" y="3466899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Text Placeholder 79"/>
          <p:cNvSpPr>
            <a:spLocks noGrp="1"/>
          </p:cNvSpPr>
          <p:nvPr>
            <p:ph type="body" sz="quarter" idx="36"/>
          </p:nvPr>
        </p:nvSpPr>
        <p:spPr bwMode="gray">
          <a:xfrm>
            <a:off x="6198158" y="4266845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308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199217" y="4266845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0" name="Picture Placeholder 81"/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6428830" y="4395202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Text Placeholder 82"/>
          <p:cNvSpPr>
            <a:spLocks noGrp="1"/>
          </p:cNvSpPr>
          <p:nvPr>
            <p:ph type="body" sz="quarter" idx="34"/>
          </p:nvPr>
        </p:nvSpPr>
        <p:spPr bwMode="gray">
          <a:xfrm>
            <a:off x="6198158" y="5195148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2" name="Text Placeholder 312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99217" y="5195148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3" name="Picture Placeholder 84"/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428830" y="532350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F914DF9-1E14-43E7-8FCC-51510C235A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04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469901" y="1298829"/>
            <a:ext cx="112512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9901" y="6058344"/>
            <a:ext cx="112512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67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Regular 8p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47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70">
          <p15:clr>
            <a:srgbClr val="FBAE40"/>
          </p15:clr>
        </p15:guide>
        <p15:guide id="2" pos="490">
          <p15:clr>
            <a:srgbClr val="FBAE40"/>
          </p15:clr>
        </p15:guide>
        <p15:guide id="3" orient="horz" pos="797">
          <p15:clr>
            <a:srgbClr val="FBAE40"/>
          </p15:clr>
        </p15:guide>
        <p15:guide id="4" orient="horz" pos="26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69900" y="1298829"/>
            <a:ext cx="552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6202100" y="1298829"/>
            <a:ext cx="5520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469901" y="219508"/>
            <a:ext cx="8650097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9900" y="6058344"/>
            <a:ext cx="112512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67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992327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/>
              <a:t>Business unit | Footer</a:t>
            </a:r>
            <a:endParaRPr lang="nl-NL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469900" y="1298829"/>
            <a:ext cx="362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284000" y="1298829"/>
            <a:ext cx="362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8098100" y="1298829"/>
            <a:ext cx="362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219508"/>
            <a:ext cx="8650097" cy="9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69900" y="6058344"/>
            <a:ext cx="112512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67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24279255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410A2CB5-E3C0-458F-AECB-D45C116B99A0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4" name="Group 3"/>
          <p:cNvGrpSpPr/>
          <p:nvPr/>
        </p:nvGrpSpPr>
        <p:grpSpPr bwMode="gray">
          <a:xfrm>
            <a:off x="0" y="6243917"/>
            <a:ext cx="12192000" cy="614084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57" imgH="357" progId="">
                  <p:embed/>
                </p:oleObj>
              </mc:Choice>
              <mc:Fallback>
                <p:oleObj name="think-cell Slide" r:id="rId30" imgW="357" imgH="357" progId="">
                  <p:embed/>
                  <p:pic>
                    <p:nvPicPr>
                      <p:cNvPr id="46" name="Object 4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219508"/>
            <a:ext cx="8650097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1292480"/>
            <a:ext cx="11252200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7943591" y="6359459"/>
            <a:ext cx="3770043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en-US" sz="1333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Business unit | Footer</a:t>
            </a:r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1722100" y="6359459"/>
            <a:ext cx="336000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nl-NL" sz="1333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3" name="Pentagon 28"/>
          <p:cNvSpPr/>
          <p:nvPr/>
        </p:nvSpPr>
        <p:spPr bwMode="gray">
          <a:xfrm>
            <a:off x="-1" y="6244917"/>
            <a:ext cx="803212" cy="613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0" bIns="0" rtlCol="0" anchor="ctr" anchorCtr="0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97174A0-3024-475A-843A-C236B8945484}"/>
              </a:ext>
            </a:extLst>
          </p:cNvPr>
          <p:cNvGrpSpPr/>
          <p:nvPr userDrawn="1"/>
        </p:nvGrpSpPr>
        <p:grpSpPr>
          <a:xfrm>
            <a:off x="-2228850" y="338777"/>
            <a:ext cx="2042076" cy="840732"/>
            <a:chOff x="-1671638" y="254082"/>
            <a:chExt cx="1531557" cy="630549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07AEDFE-6D6E-4DCD-95AE-9EB869F56D37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2ADE8EF-460B-4494-9B96-25366E12FE76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FD9244C-2A41-4A05-BD74-DBD5EEDFD0F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sp>
        <p:nvSpPr>
          <p:cNvPr id="29" name="Rectangle 28">
            <a:extLst>
              <a:ext uri="{FF2B5EF4-FFF2-40B4-BE49-F238E27FC236}">
                <a16:creationId xmlns:a16="http://schemas.microsoft.com/office/drawing/2014/main" id="{4C9011BA-2E5B-46D8-B55C-C1EB58D76A37}"/>
              </a:ext>
            </a:extLst>
          </p:cNvPr>
          <p:cNvSpPr/>
          <p:nvPr userDrawn="1"/>
        </p:nvSpPr>
        <p:spPr bwMode="gray">
          <a:xfrm>
            <a:off x="-2228850" y="5656045"/>
            <a:ext cx="2042076" cy="10294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48000" bIns="144000" rtlCol="0" anchor="t" anchorCtr="0">
            <a:spAutoFit/>
          </a:bodyPr>
          <a:lstStyle/>
          <a:p>
            <a:pPr algn="l"/>
            <a:r>
              <a:rPr lang="en-US" sz="1200" b="1" dirty="0">
                <a:solidFill>
                  <a:schemeClr val="tx1"/>
                </a:solidFill>
              </a:rPr>
              <a:t>Insert Topic Icons</a:t>
            </a:r>
          </a:p>
          <a:p>
            <a:pPr algn="l"/>
            <a:r>
              <a:rPr lang="en-US" sz="1200" b="0" dirty="0">
                <a:solidFill>
                  <a:schemeClr val="tx1"/>
                </a:solidFill>
              </a:rPr>
              <a:t>Click on the picture icon and </a:t>
            </a:r>
            <a:r>
              <a:rPr lang="en-US" sz="1200" b="0" i="0" baseline="0" dirty="0">
                <a:solidFill>
                  <a:schemeClr val="tx1"/>
                </a:solidFill>
              </a:rPr>
              <a:t>browse to the location of </a:t>
            </a:r>
            <a:r>
              <a:rPr lang="en-US" sz="1200" b="0" baseline="0" dirty="0">
                <a:solidFill>
                  <a:schemeClr val="tx1"/>
                </a:solidFill>
              </a:rPr>
              <a:t>the Topic Icons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9959907-D325-4515-8460-37109EB0788B}"/>
              </a:ext>
            </a:extLst>
          </p:cNvPr>
          <p:cNvSpPr/>
          <p:nvPr userDrawn="1"/>
        </p:nvSpPr>
        <p:spPr bwMode="gray">
          <a:xfrm>
            <a:off x="-2228850" y="1874017"/>
            <a:ext cx="2042076" cy="24033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0" bIns="144000" rtlCol="0" anchor="b" anchorCtr="0">
            <a:noAutofit/>
          </a:bodyPr>
          <a:lstStyle/>
          <a:p>
            <a:pPr algn="l"/>
            <a:r>
              <a:rPr lang="en-US" sz="1200" b="1" dirty="0">
                <a:solidFill>
                  <a:schemeClr val="tx1"/>
                </a:solidFill>
              </a:rPr>
              <a:t>AkzoNobel Bullets</a:t>
            </a:r>
          </a:p>
          <a:p>
            <a:pPr algn="l"/>
            <a:r>
              <a:rPr lang="en-US" sz="1200" b="0" dirty="0">
                <a:solidFill>
                  <a:schemeClr val="tx1"/>
                </a:solidFill>
              </a:rPr>
              <a:t>Only use the </a:t>
            </a:r>
            <a:r>
              <a:rPr lang="en-US" sz="1200" b="0" u="sng" dirty="0">
                <a:solidFill>
                  <a:schemeClr val="tx1"/>
                </a:solidFill>
              </a:rPr>
              <a:t>List Level buttons</a:t>
            </a:r>
            <a:r>
              <a:rPr lang="en-US" sz="1200" b="0" dirty="0">
                <a:solidFill>
                  <a:schemeClr val="tx1"/>
                </a:solidFill>
              </a:rPr>
              <a:t> to apply the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en-US" sz="1200" b="0" i="0" u="none" baseline="0" dirty="0">
                <a:solidFill>
                  <a:schemeClr val="tx1"/>
                </a:solidFill>
              </a:rPr>
              <a:t>AkzoNobel Branded Bullets</a:t>
            </a:r>
            <a:endParaRPr lang="en-US" sz="1200" b="0" i="0" u="none" dirty="0">
              <a:solidFill>
                <a:schemeClr val="tx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E269951-6D51-4ED6-B96C-0B3772FB0F99}"/>
              </a:ext>
            </a:extLst>
          </p:cNvPr>
          <p:cNvGrpSpPr/>
          <p:nvPr userDrawn="1"/>
        </p:nvGrpSpPr>
        <p:grpSpPr>
          <a:xfrm>
            <a:off x="-2097938" y="2041937"/>
            <a:ext cx="1780249" cy="1060035"/>
            <a:chOff x="-1573454" y="1531453"/>
            <a:chExt cx="1335187" cy="79502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DC62B89-1326-4317-9C5B-89680681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36" name="Multiply 30">
              <a:extLst>
                <a:ext uri="{FF2B5EF4-FFF2-40B4-BE49-F238E27FC236}">
                  <a16:creationId xmlns:a16="http://schemas.microsoft.com/office/drawing/2014/main" id="{1E2C07B4-69F9-4521-AAF6-12CD6CA1844F}"/>
                </a:ext>
              </a:extLst>
            </p:cNvPr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8A3058E3-E7BE-4686-B0CC-3FEDA91961B8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913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hf hdr="0" dt="0"/>
  <p:txStyles>
    <p:titleStyle>
      <a:lvl1pPr marL="0" algn="l" defTabSz="1219170" rtl="0" eaLnBrk="1" latinLnBrk="0" hangingPunct="1">
        <a:lnSpc>
          <a:spcPts val="3333"/>
        </a:lnSpc>
        <a:spcBef>
          <a:spcPct val="0"/>
        </a:spcBef>
        <a:buNone/>
        <a:defRPr lang="en-GB" sz="3333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1219170" rtl="0" eaLnBrk="1" latinLnBrk="0" hangingPunct="1">
        <a:lnSpc>
          <a:spcPct val="80000"/>
        </a:lnSpc>
        <a:spcBef>
          <a:spcPts val="800"/>
        </a:spcBef>
        <a:spcAft>
          <a:spcPts val="267"/>
        </a:spcAft>
        <a:buClr>
          <a:schemeClr val="accent1"/>
        </a:buClr>
        <a:buFont typeface="Arial" pitchFamily="34" charset="0"/>
        <a:buNone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80000"/>
        </a:lnSpc>
        <a:spcBef>
          <a:spcPts val="800"/>
        </a:spcBef>
        <a:spcAft>
          <a:spcPts val="267"/>
        </a:spcAft>
        <a:buClr>
          <a:schemeClr val="accent1"/>
        </a:buClr>
        <a:buFontTx/>
        <a:buBlip>
          <a:blip r:embed="rId34"/>
        </a:buBlip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267"/>
        </a:spcAft>
        <a:buClr>
          <a:schemeClr val="accent1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267"/>
        </a:spcAft>
        <a:buClr>
          <a:schemeClr val="accent1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59976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267"/>
        </a:spcAft>
        <a:buClr>
          <a:schemeClr val="accent1"/>
        </a:buClr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544">
          <p15:clr>
            <a:srgbClr val="F26B43"/>
          </p15:clr>
        </p15:guide>
        <p15:guide id="2" pos="222">
          <p15:clr>
            <a:srgbClr val="F26B43"/>
          </p15:clr>
        </p15:guide>
        <p15:guide id="3" orient="horz" pos="102">
          <p15:clr>
            <a:srgbClr val="F26B43"/>
          </p15:clr>
        </p15:guide>
        <p15:guide id="4" orient="horz" pos="558">
          <p15:clr>
            <a:srgbClr val="F26B43"/>
          </p15:clr>
        </p15:guide>
        <p15:guide id="5" orient="horz" pos="606">
          <p15:clr>
            <a:srgbClr val="F26B43"/>
          </p15:clr>
        </p15:guide>
        <p15:guide id="6" orient="horz" pos="2838">
          <p15:clr>
            <a:srgbClr val="F26B43"/>
          </p15:clr>
        </p15:guide>
        <p15:guide id="7" orient="horz" pos="2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варианты логотипа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C8C763-DE79-3E48-417E-5AA2843474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285" y="2040678"/>
            <a:ext cx="5728715" cy="2137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1449AC-B2D2-F8F2-D1A1-C260164FAA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731" y="2672392"/>
            <a:ext cx="4740533" cy="960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7B8818D-EF9A-3490-25A0-8040DB80C9B9}"/>
              </a:ext>
            </a:extLst>
          </p:cNvPr>
          <p:cNvSpPr txBox="1"/>
          <p:nvPr/>
        </p:nvSpPr>
        <p:spPr>
          <a:xfrm>
            <a:off x="1447049" y="4433635"/>
            <a:ext cx="3569186" cy="4630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3600" b="0" dirty="0">
                <a:solidFill>
                  <a:srgbClr val="005192"/>
                </a:solidFill>
              </a:rPr>
              <a:t>(полный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7953C27-E583-0C14-77C1-91DB4FF73F42}"/>
              </a:ext>
            </a:extLst>
          </p:cNvPr>
          <p:cNvSpPr txBox="1"/>
          <p:nvPr/>
        </p:nvSpPr>
        <p:spPr>
          <a:xfrm>
            <a:off x="7335404" y="4433635"/>
            <a:ext cx="3569186" cy="4630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3600" b="0" dirty="0">
                <a:solidFill>
                  <a:srgbClr val="005192"/>
                </a:solidFill>
              </a:rPr>
              <a:t>(сокращённый)</a:t>
            </a:r>
          </a:p>
        </p:txBody>
      </p:sp>
    </p:spTree>
    <p:extLst>
      <p:ext uri="{BB962C8B-B14F-4D97-AF65-F5344CB8AC3E}">
        <p14:creationId xmlns:p14="http://schemas.microsoft.com/office/powerpoint/2010/main" val="4081902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увенирная продукц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30B9771-8856-CE63-EE40-8E63FF61E5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94" y="1549766"/>
            <a:ext cx="4377446" cy="437744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AF6B0BD-1D8E-4677-6DA6-02F5A7D10D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974" y="2066852"/>
            <a:ext cx="3343275" cy="33432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7C76894-708A-2925-9D8B-54C442A460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851" y="1447873"/>
            <a:ext cx="4190855" cy="419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4013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б-сайт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D6E4494-6BB0-BF91-3A95-27C44A179D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862" y="1480175"/>
            <a:ext cx="9372192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55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ые варианты</a:t>
            </a:r>
          </a:p>
        </p:txBody>
      </p:sp>
      <p:pic>
        <p:nvPicPr>
          <p:cNvPr id="5" name="Picture 4" descr="A blue sign with white text&#10;&#10;Description automatically generated">
            <a:extLst>
              <a:ext uri="{FF2B5EF4-FFF2-40B4-BE49-F238E27FC236}">
                <a16:creationId xmlns:a16="http://schemas.microsoft.com/office/drawing/2014/main" id="{521C9F9E-2711-2BD1-9D45-CB83F011BE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204" y="1501207"/>
            <a:ext cx="4828303" cy="1678636"/>
          </a:xfrm>
          <a:prstGeom prst="rect">
            <a:avLst/>
          </a:prstGeom>
        </p:spPr>
      </p:pic>
      <p:pic>
        <p:nvPicPr>
          <p:cNvPr id="9" name="Picture 8" descr="A blue and white logo&#10;&#10;Description automatically generated">
            <a:extLst>
              <a:ext uri="{FF2B5EF4-FFF2-40B4-BE49-F238E27FC236}">
                <a16:creationId xmlns:a16="http://schemas.microsoft.com/office/drawing/2014/main" id="{87FBB390-22C0-F52D-2ED0-E081057C29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12" y="3383557"/>
            <a:ext cx="4828303" cy="1678636"/>
          </a:xfrm>
          <a:prstGeom prst="rect">
            <a:avLst/>
          </a:prstGeom>
        </p:spPr>
      </p:pic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C384D476-4E23-C1A3-A3AB-689431CE25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203" y="3383557"/>
            <a:ext cx="4828303" cy="1678636"/>
          </a:xfrm>
          <a:prstGeom prst="rect">
            <a:avLst/>
          </a:prstGeom>
        </p:spPr>
      </p:pic>
      <p:pic>
        <p:nvPicPr>
          <p:cNvPr id="13" name="Picture 12" descr="A blue and white logo&#10;&#10;Description automatically generated">
            <a:extLst>
              <a:ext uri="{FF2B5EF4-FFF2-40B4-BE49-F238E27FC236}">
                <a16:creationId xmlns:a16="http://schemas.microsoft.com/office/drawing/2014/main" id="{87AABE08-BB5D-F725-12A6-0945157AF8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17" y="1501207"/>
            <a:ext cx="4828303" cy="167863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BB26FE8-2D7E-2351-55F1-A77CEADD4E0C}"/>
              </a:ext>
            </a:extLst>
          </p:cNvPr>
          <p:cNvSpPr txBox="1"/>
          <p:nvPr/>
        </p:nvSpPr>
        <p:spPr>
          <a:xfrm>
            <a:off x="1187777" y="5479318"/>
            <a:ext cx="9974729" cy="46301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ru-RU" sz="2400" b="0" dirty="0">
                <a:solidFill>
                  <a:srgbClr val="005192"/>
                </a:solidFill>
              </a:rPr>
              <a:t>(могут использоваться вместо полной версии в виде исключения)</a:t>
            </a:r>
          </a:p>
        </p:txBody>
      </p:sp>
    </p:spTree>
    <p:extLst>
      <p:ext uri="{BB962C8B-B14F-4D97-AF65-F5344CB8AC3E}">
        <p14:creationId xmlns:p14="http://schemas.microsoft.com/office/powerpoint/2010/main" val="1172411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ринципы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A05E6B4-4D4C-C86A-7C81-D1FF4523EF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882"/>
          <a:stretch/>
        </p:blipFill>
        <p:spPr>
          <a:xfrm>
            <a:off x="1329180" y="1257509"/>
            <a:ext cx="8974316" cy="495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327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ринципы</a:t>
            </a:r>
          </a:p>
        </p:txBody>
      </p:sp>
      <p:pic>
        <p:nvPicPr>
          <p:cNvPr id="2" name="Рисунок 10">
            <a:extLst>
              <a:ext uri="{FF2B5EF4-FFF2-40B4-BE49-F238E27FC236}">
                <a16:creationId xmlns:a16="http://schemas.microsoft.com/office/drawing/2014/main" id="{1349DF7A-8CB8-4BDF-9D85-0E16AC2170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138"/>
          <a:stretch/>
        </p:blipFill>
        <p:spPr>
          <a:xfrm>
            <a:off x="1772239" y="1305630"/>
            <a:ext cx="8534679" cy="487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39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ринцип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30DB0A1-25FE-24A9-C4A8-78AFFB5520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792"/>
          <a:stretch/>
        </p:blipFill>
        <p:spPr>
          <a:xfrm>
            <a:off x="1756739" y="1389215"/>
            <a:ext cx="8484471" cy="476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683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ринцип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30DB0A1-25FE-24A9-C4A8-78AFFB5520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" t="61608" r="3542"/>
          <a:stretch/>
        </p:blipFill>
        <p:spPr>
          <a:xfrm>
            <a:off x="113973" y="1451772"/>
            <a:ext cx="11921721" cy="4364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7017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ы рекламных материало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97A912-D997-B586-7AFB-906A56AE4BF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13" b="3048"/>
          <a:stretch/>
        </p:blipFill>
        <p:spPr>
          <a:xfrm>
            <a:off x="2021105" y="1204176"/>
            <a:ext cx="7320858" cy="4989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401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исьм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84DED61-25C0-38B0-6ED8-9013A6B206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1962" y="1328624"/>
            <a:ext cx="3527891" cy="4881718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04E19D6-5CEA-7491-D6AC-2BAE377BEF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071" y="1328624"/>
            <a:ext cx="3527891" cy="488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043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18D36A-100E-46DE-D35D-A8C145773A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780DC6-3568-6AFD-F074-DCC9B9879B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верты и визитк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466BF1D-D7FC-4907-F264-E1BE51B7E3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103" y="1694060"/>
            <a:ext cx="5383531" cy="386377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BC045FD-8909-903E-FCEF-D8971B8E6C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9180" y="1714499"/>
            <a:ext cx="6272820" cy="425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557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Functions_16x9">
  <a:themeElements>
    <a:clrScheme name="AkzoNobel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5192"/>
      </a:accent1>
      <a:accent2>
        <a:srgbClr val="56378A"/>
      </a:accent2>
      <a:accent3>
        <a:srgbClr val="952D98"/>
      </a:accent3>
      <a:accent4>
        <a:srgbClr val="C3004A"/>
      </a:accent4>
      <a:accent5>
        <a:srgbClr val="0092BB"/>
      </a:accent5>
      <a:accent6>
        <a:srgbClr val="44697D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Turquoise">
      <a:srgbClr val="0092BB"/>
    </a:custClr>
    <a:custClr name="AN Gray Blue">
      <a:srgbClr val="44697D"/>
    </a:custClr>
    <a:custClr name="AN Gray">
      <a:srgbClr val="868688"/>
    </a:custClr>
    <a:custClr name=" ">
      <a:srgbClr val="FFFFFF"/>
    </a:custClr>
    <a:custClr name=" ">
      <a:srgbClr val="FFFFFF"/>
    </a:custClr>
    <a:custClr name=" ">
      <a:srgbClr val="FFFFFF"/>
    </a:custClr>
    <a:custClr name="AN Light Blue">
      <a:srgbClr val="008BC5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Pale Turquoise">
      <a:srgbClr val="55BECF"/>
    </a:custClr>
    <a:custClr name="AN Pale Gray Blue">
      <a:srgbClr val="B9C9D0"/>
    </a:custClr>
    <a:custClr name="AN Pale Gray">
      <a:srgbClr val="B7B9BA"/>
    </a:custClr>
  </a:custClrLst>
  <a:extLst>
    <a:ext uri="{05A4C25C-085E-4340-85A3-A5531E510DB2}">
      <thm15:themeFamily xmlns:thm15="http://schemas.microsoft.com/office/thememl/2012/main" name="AN_Reference_16x9_20180302.pptx" id="{9C8D6757-6612-4F6C-9FD2-47CF2A20C1DA}" vid="{EC48593D-1A54-4D8C-AD71-0C99F26D09BB}"/>
    </a:ext>
  </a:extLst>
</a:theme>
</file>

<file path=docMetadata/LabelInfo.xml><?xml version="1.0" encoding="utf-8"?>
<clbl:labelList xmlns:clbl="http://schemas.microsoft.com/office/2020/mipLabelMetadata">
  <clbl:label id="{bafec85b-e817-4277-86cb-66dc7d424280}" enabled="1" method="Standard" siteId="{aab2e961-1f45-4717-9a42-8f87802af9b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4</TotalTime>
  <Words>39</Words>
  <Application>Microsoft Office PowerPoint</Application>
  <PresentationFormat>Widescreen</PresentationFormat>
  <Paragraphs>1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4" baseType="lpstr">
      <vt:lpstr>Arial</vt:lpstr>
      <vt:lpstr>AN_Functions_16x9</vt:lpstr>
      <vt:lpstr>think-cell Slide</vt:lpstr>
      <vt:lpstr>Основные варианты логотипа</vt:lpstr>
      <vt:lpstr>Дополнительные варианты</vt:lpstr>
      <vt:lpstr>Основные принципы</vt:lpstr>
      <vt:lpstr>Основные принципы</vt:lpstr>
      <vt:lpstr>Основные принципы</vt:lpstr>
      <vt:lpstr>Основные принципы</vt:lpstr>
      <vt:lpstr>Примеры рекламных материалов</vt:lpstr>
      <vt:lpstr>Письма</vt:lpstr>
      <vt:lpstr>Конверты и визитки</vt:lpstr>
      <vt:lpstr>Сувенирная продукция</vt:lpstr>
      <vt:lpstr>Веб-сайты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 варианта логотипа</dc:title>
  <dc:creator>Ivan Bovkun</dc:creator>
  <cp:lastModifiedBy>Ivan Bovkun</cp:lastModifiedBy>
  <cp:revision>7</cp:revision>
  <dcterms:created xsi:type="dcterms:W3CDTF">2023-11-16T08:53:51Z</dcterms:created>
  <dcterms:modified xsi:type="dcterms:W3CDTF">2023-11-22T10:31:39Z</dcterms:modified>
</cp:coreProperties>
</file>